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3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4958308874411"/>
          <c:y val="0.12567163355148306"/>
          <c:w val="0.77917345315760345"/>
          <c:h val="0.7308876592671684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B-4530-8A80-D77B0F5AAC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CB-4530-8A80-D77B0F5AAC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CB-4530-8A80-D77B0F5AA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2D7BA-F6D8-ABAD-A134-FF894A39D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752C84-3B15-6E9F-4983-A3090A812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752C84-3B15-6E9F-4983-A3090A812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5F2A2EE-9D3B-21E9-CFBC-A84DB8237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B9DAFF4-90BD-C46D-35E0-B2C1C6CA8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1A49B9D4-3E01-A6B9-EEC2-DEDBCDCF5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5D1A848-C5E5-C67E-7F9D-2D8392F09C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CEC13D4-B7E4-884B-27BB-422DAEFEC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42D3FFE-BDFE-DE63-6395-A64417DB67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39A99B12-FE06-817A-8473-E6CF6E5DBAB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968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6</TotalTime>
  <Words>8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71</cp:revision>
  <dcterms:created xsi:type="dcterms:W3CDTF">2025-07-09T10:57:17Z</dcterms:created>
  <dcterms:modified xsi:type="dcterms:W3CDTF">2025-10-22T09:51:02Z</dcterms:modified>
  <cp:category/>
</cp:coreProperties>
</file>